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2"/>
  </p:notesMasterIdLst>
  <p:sldIdLst>
    <p:sldId id="266" r:id="rId2"/>
    <p:sldId id="267" r:id="rId3"/>
    <p:sldId id="327" r:id="rId4"/>
    <p:sldId id="329" r:id="rId5"/>
    <p:sldId id="331" r:id="rId6"/>
    <p:sldId id="332" r:id="rId7"/>
    <p:sldId id="333" r:id="rId8"/>
    <p:sldId id="334" r:id="rId9"/>
    <p:sldId id="356" r:id="rId10"/>
    <p:sldId id="357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  <p:cmAuthor id="3" name="Wang Xiaocheng, SF5-CN-S-11" initials="WXS" lastIdx="1" clrIdx="2">
    <p:extLst>
      <p:ext uri="{19B8F6BF-5375-455C-9EA6-DF929625EA0E}">
        <p15:presenceInfo xmlns:p15="http://schemas.microsoft.com/office/powerpoint/2012/main" userId="S-1-5-21-1107316082-2135466989-3777954083-193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40" d="100"/>
          <a:sy n="40" d="100"/>
        </p:scale>
        <p:origin x="64" y="624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25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40887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</a:t>
            </a:r>
            <a:r>
              <a:rPr lang="en-US" altLang="zh-CN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08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2769989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/>
              <a:t>As BMW SF </a:t>
            </a:r>
            <a:r>
              <a:rPr lang="en-US" altLang="zh-CN" dirty="0" smtClean="0"/>
              <a:t>Easy Finance user (applicant Co-borrower and guarantor) I can do pre-check and track pre-check status on the platform</a:t>
            </a: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348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altLang="zh-CN" dirty="0"/>
              <a:t>EP008-S001 to S005-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6106408" y="1477287"/>
            <a:ext cx="2505075" cy="4486275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254045" y="1582061"/>
            <a:ext cx="2209800" cy="21907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www.easyfinance.com</a:t>
            </a: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Pentagon 25"/>
          <p:cNvSpPr/>
          <p:nvPr/>
        </p:nvSpPr>
        <p:spPr>
          <a:xfrm>
            <a:off x="7959021" y="5587488"/>
            <a:ext cx="614362" cy="304800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900" dirty="0">
                <a:solidFill>
                  <a:schemeClr val="tx1"/>
                </a:solidFill>
                <a:latin typeface="BMW Group Condensed" panose="020B0606020202020204" pitchFamily="34" charset="0"/>
              </a:rPr>
              <a:t>下一步</a:t>
            </a:r>
            <a:endParaRPr lang="en-US" sz="900" b="0" i="0" u="none" baseline="0" dirty="0" err="1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254045" y="2263144"/>
            <a:ext cx="595313" cy="258084"/>
          </a:xfrm>
          <a:prstGeom prst="round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Applicant</a:t>
            </a:r>
            <a:endParaRPr lang="en-US" sz="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9026078"/>
              </p:ext>
            </p:extLst>
          </p:nvPr>
        </p:nvGraphicFramePr>
        <p:xfrm>
          <a:off x="6254045" y="2639067"/>
          <a:ext cx="2209800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450"/>
                <a:gridCol w="552450"/>
                <a:gridCol w="552450"/>
                <a:gridCol w="552450"/>
              </a:tblGrid>
              <a:tr h="265747"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姓名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类型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号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预审核结果</a:t>
                      </a:r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9" name="Rounded Rectangle 28"/>
          <p:cNvSpPr/>
          <p:nvPr/>
        </p:nvSpPr>
        <p:spPr>
          <a:xfrm>
            <a:off x="6254045" y="3039384"/>
            <a:ext cx="595313" cy="258084"/>
          </a:xfrm>
          <a:prstGeom prst="round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Co-borrower</a:t>
            </a:r>
            <a:endParaRPr lang="en-US" sz="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154796"/>
              </p:ext>
            </p:extLst>
          </p:nvPr>
        </p:nvGraphicFramePr>
        <p:xfrm>
          <a:off x="6254045" y="3364186"/>
          <a:ext cx="2209800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450"/>
                <a:gridCol w="552450"/>
                <a:gridCol w="552450"/>
                <a:gridCol w="552450"/>
              </a:tblGrid>
              <a:tr h="265747"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姓名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类型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号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预审核结果</a:t>
                      </a:r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1" name="Rounded Rectangle 30"/>
          <p:cNvSpPr/>
          <p:nvPr/>
        </p:nvSpPr>
        <p:spPr>
          <a:xfrm>
            <a:off x="6254045" y="3715833"/>
            <a:ext cx="595313" cy="258084"/>
          </a:xfrm>
          <a:prstGeom prst="round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Guarantor</a:t>
            </a:r>
            <a:endParaRPr lang="en-US" sz="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883882"/>
              </p:ext>
            </p:extLst>
          </p:nvPr>
        </p:nvGraphicFramePr>
        <p:xfrm>
          <a:off x="6254045" y="4056806"/>
          <a:ext cx="2209800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450"/>
                <a:gridCol w="552450"/>
                <a:gridCol w="552450"/>
                <a:gridCol w="552450"/>
              </a:tblGrid>
              <a:tr h="265747"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姓名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类型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号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预审核结果</a:t>
                      </a:r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3" name="Pentagon 32"/>
          <p:cNvSpPr/>
          <p:nvPr/>
        </p:nvSpPr>
        <p:spPr>
          <a:xfrm rot="10800000">
            <a:off x="6215946" y="5566057"/>
            <a:ext cx="614362" cy="304800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b="0" i="0" u="none" baseline="0" dirty="0" err="1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277858" y="5628296"/>
            <a:ext cx="1104900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上一步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6254045" y="4593935"/>
            <a:ext cx="923925" cy="224001"/>
          </a:xfrm>
          <a:prstGeom prst="round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总</a:t>
            </a:r>
            <a:r>
              <a:rPr lang="zh-CN" altLang="en-US" sz="1100" dirty="0">
                <a:solidFill>
                  <a:schemeClr val="tx1"/>
                </a:solidFill>
                <a:latin typeface="BMW Group Condensed" panose="020B0606020202020204" pitchFamily="34" charset="0"/>
              </a:rPr>
              <a:t>结果</a:t>
            </a:r>
            <a:endParaRPr lang="en-US" sz="1100" b="0" i="0" u="none" baseline="0" dirty="0" err="1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7325607" y="4593936"/>
            <a:ext cx="1119188" cy="24143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chemeClr val="tx1"/>
                </a:solidFill>
                <a:latin typeface="BMW Group Condensed" panose="020B0606020202020204" pitchFamily="34" charset="0"/>
              </a:rPr>
              <a:t>Description</a:t>
            </a: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6849358" y="4982487"/>
            <a:ext cx="1109663" cy="43815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0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预审核申请</a:t>
            </a:r>
            <a:endParaRPr lang="en-US" sz="1000" b="0" i="0" u="none" baseline="0" dirty="0" err="1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355467" y="149535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26326" y="149535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05085" y="1616019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 flipH="1">
            <a:off x="650286" y="1684409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650286" y="1773675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2527397" y="5933721"/>
            <a:ext cx="27453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solidFill>
                  <a:srgbClr val="FE6700"/>
                </a:solidFill>
              </a:rPr>
              <a:t>Prefilled information from </a:t>
            </a:r>
            <a:r>
              <a:rPr lang="en-US" altLang="zh-CN" sz="1200" dirty="0" smtClean="0">
                <a:solidFill>
                  <a:srgbClr val="FE6700"/>
                </a:solidFill>
              </a:rPr>
              <a:t>E-authentication</a:t>
            </a:r>
          </a:p>
          <a:p>
            <a:r>
              <a:rPr lang="en-US" altLang="zh-CN" sz="1200" dirty="0">
                <a:solidFill>
                  <a:srgbClr val="6595FD"/>
                </a:solidFill>
              </a:rPr>
              <a:t>Optional </a:t>
            </a:r>
            <a:r>
              <a:rPr lang="en-US" altLang="zh-CN" sz="1200" dirty="0" smtClean="0">
                <a:solidFill>
                  <a:srgbClr val="6595FD"/>
                </a:solidFill>
              </a:rPr>
              <a:t>information</a:t>
            </a:r>
            <a:endParaRPr lang="en-US" altLang="zh-CN" sz="1200" dirty="0">
              <a:solidFill>
                <a:srgbClr val="6595FD"/>
              </a:solidFill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759884" y="2115870"/>
            <a:ext cx="2122811" cy="5520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/>
          <p:cNvSpPr/>
          <p:nvPr/>
        </p:nvSpPr>
        <p:spPr>
          <a:xfrm>
            <a:off x="1991048" y="2011558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877759" y="2024430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1416256" y="2011558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2" name="Oval 51"/>
          <p:cNvSpPr/>
          <p:nvPr/>
        </p:nvSpPr>
        <p:spPr>
          <a:xfrm>
            <a:off x="2565840" y="2024430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2417527" y="1617529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 flipV="1">
            <a:off x="2936601" y="1775750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2933209" y="16708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1472135" y="2238968"/>
            <a:ext cx="1169679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mployment Info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569376" y="2578410"/>
            <a:ext cx="61587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/>
              <a:t>I</a:t>
            </a:r>
            <a:r>
              <a:rPr lang="en-US" altLang="zh-CN" sz="1100" dirty="0" smtClean="0"/>
              <a:t>ndustry</a:t>
            </a:r>
            <a:endParaRPr lang="en-US" altLang="zh-CN" sz="1100" dirty="0"/>
          </a:p>
        </p:txBody>
      </p:sp>
      <p:sp>
        <p:nvSpPr>
          <p:cNvPr id="58" name="TextBox 57"/>
          <p:cNvSpPr txBox="1"/>
          <p:nvPr/>
        </p:nvSpPr>
        <p:spPr>
          <a:xfrm>
            <a:off x="1715596" y="2576183"/>
            <a:ext cx="87395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Sub-industry</a:t>
            </a:r>
            <a:endParaRPr lang="en-US" altLang="zh-CN" sz="1100" dirty="0"/>
          </a:p>
        </p:txBody>
      </p:sp>
      <p:sp>
        <p:nvSpPr>
          <p:cNvPr id="59" name="TextBox 58"/>
          <p:cNvSpPr txBox="1"/>
          <p:nvPr/>
        </p:nvSpPr>
        <p:spPr>
          <a:xfrm>
            <a:off x="488948" y="2876120"/>
            <a:ext cx="79701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Occupation</a:t>
            </a:r>
            <a:endParaRPr lang="en-US" altLang="zh-CN" sz="1100" dirty="0"/>
          </a:p>
        </p:txBody>
      </p:sp>
      <p:sp>
        <p:nvSpPr>
          <p:cNvPr id="60" name="TextBox 59"/>
          <p:cNvSpPr txBox="1"/>
          <p:nvPr/>
        </p:nvSpPr>
        <p:spPr>
          <a:xfrm>
            <a:off x="551331" y="3154437"/>
            <a:ext cx="103105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Company Name</a:t>
            </a:r>
            <a:endParaRPr lang="en-US" altLang="zh-CN" sz="1100" dirty="0"/>
          </a:p>
        </p:txBody>
      </p:sp>
      <p:sp>
        <p:nvSpPr>
          <p:cNvPr id="61" name="TextBox 60"/>
          <p:cNvSpPr txBox="1"/>
          <p:nvPr/>
        </p:nvSpPr>
        <p:spPr>
          <a:xfrm>
            <a:off x="1824132" y="2893300"/>
            <a:ext cx="61908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Job title</a:t>
            </a:r>
            <a:endParaRPr lang="en-US" altLang="zh-CN" sz="1100" dirty="0"/>
          </a:p>
        </p:txBody>
      </p:sp>
      <p:sp>
        <p:nvSpPr>
          <p:cNvPr id="62" name="TextBox 61"/>
          <p:cNvSpPr txBox="1"/>
          <p:nvPr/>
        </p:nvSpPr>
        <p:spPr>
          <a:xfrm>
            <a:off x="567277" y="3475356"/>
            <a:ext cx="104227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Employed Since</a:t>
            </a:r>
            <a:endParaRPr lang="en-US" altLang="zh-CN" sz="1100" dirty="0"/>
          </a:p>
        </p:txBody>
      </p:sp>
      <p:sp>
        <p:nvSpPr>
          <p:cNvPr id="63" name="TextBox 62"/>
          <p:cNvSpPr txBox="1"/>
          <p:nvPr/>
        </p:nvSpPr>
        <p:spPr>
          <a:xfrm>
            <a:off x="1821289" y="3475356"/>
            <a:ext cx="108876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Employed Month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95720" y="3785284"/>
            <a:ext cx="103906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Shareholding %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86956" y="4016475"/>
            <a:ext cx="114005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Registered capital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17422" y="4252158"/>
            <a:ext cx="94288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8CB0FE"/>
                </a:solidFill>
              </a:rPr>
              <a:t># of employee</a:t>
            </a:r>
            <a:endParaRPr lang="en-US" altLang="zh-CN" sz="1100" dirty="0">
              <a:solidFill>
                <a:srgbClr val="8CB0F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34018" y="2614740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1606892" y="261290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9" name="Isosceles Triangle 68"/>
          <p:cNvSpPr/>
          <p:nvPr/>
        </p:nvSpPr>
        <p:spPr>
          <a:xfrm rot="10632166">
            <a:off x="1616564" y="270659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2539505" y="2594392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3012379" y="259255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2" name="Isosceles Triangle 71"/>
          <p:cNvSpPr/>
          <p:nvPr/>
        </p:nvSpPr>
        <p:spPr>
          <a:xfrm rot="10632166">
            <a:off x="3022051" y="268624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221335" y="2928334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694209" y="292649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5" name="Isosceles Triangle 74"/>
          <p:cNvSpPr/>
          <p:nvPr/>
        </p:nvSpPr>
        <p:spPr>
          <a:xfrm rot="10632166">
            <a:off x="1703881" y="302019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2461102" y="2942193"/>
            <a:ext cx="475532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2933976" y="2940354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8" name="Isosceles Triangle 77"/>
          <p:cNvSpPr/>
          <p:nvPr/>
        </p:nvSpPr>
        <p:spPr>
          <a:xfrm rot="10632166">
            <a:off x="2943648" y="3034049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575372" y="3196452"/>
            <a:ext cx="1357837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536381" y="3525177"/>
            <a:ext cx="306255" cy="164486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2836708" y="3530466"/>
            <a:ext cx="306255" cy="164486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2738183" y="3519364"/>
            <a:ext cx="736099" cy="20005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7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uto-calculation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459101" y="3521886"/>
            <a:ext cx="527709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6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17/07/28</a:t>
            </a:r>
            <a:endParaRPr lang="en-US" sz="6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4638" y="3812828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1665770" y="4061984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608359" y="4315716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3508473" y="1608064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88" name="Straight Connector 87"/>
          <p:cNvCxnSpPr/>
          <p:nvPr/>
        </p:nvCxnSpPr>
        <p:spPr>
          <a:xfrm flipH="1">
            <a:off x="3453674" y="1676454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3453674" y="1765720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3563272" y="2107915"/>
            <a:ext cx="2122811" cy="5520"/>
          </a:xfrm>
          <a:prstGeom prst="line">
            <a:avLst/>
          </a:prstGeom>
          <a:ln w="381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90"/>
          <p:cNvSpPr/>
          <p:nvPr/>
        </p:nvSpPr>
        <p:spPr>
          <a:xfrm>
            <a:off x="5369228" y="2011558"/>
            <a:ext cx="182880" cy="182880"/>
          </a:xfrm>
          <a:prstGeom prst="ellipse">
            <a:avLst/>
          </a:prstGeom>
          <a:solidFill>
            <a:srgbClr val="92A2BD"/>
          </a:solidFill>
          <a:ln w="9525">
            <a:solidFill>
              <a:srgbClr val="92A2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2" name="Oval 91"/>
          <p:cNvSpPr/>
          <p:nvPr/>
        </p:nvSpPr>
        <p:spPr>
          <a:xfrm>
            <a:off x="3681147" y="201647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3" name="Oval 92"/>
          <p:cNvSpPr/>
          <p:nvPr/>
        </p:nvSpPr>
        <p:spPr>
          <a:xfrm>
            <a:off x="4219644" y="2003603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4" name="Oval 93"/>
          <p:cNvSpPr/>
          <p:nvPr/>
        </p:nvSpPr>
        <p:spPr>
          <a:xfrm>
            <a:off x="4811770" y="2019235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5220915" y="1609574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 flipV="1">
            <a:off x="5739989" y="1767795"/>
            <a:ext cx="104530" cy="81920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5736597" y="1662874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4767367" y="2251963"/>
            <a:ext cx="1138581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ffordability Info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510914" y="2595705"/>
            <a:ext cx="87075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/>
              <a:t># of Children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3453674" y="2881822"/>
            <a:ext cx="103586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100" dirty="0"/>
              <a:t>Monthly income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3474282" y="3159618"/>
            <a:ext cx="152157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100" dirty="0"/>
              <a:t>Quarterly Interest Earned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3511219" y="3420158"/>
            <a:ext cx="85792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>
                <a:solidFill>
                  <a:srgbClr val="8CB0FE"/>
                </a:solidFill>
              </a:rPr>
              <a:t>Monthly rent</a:t>
            </a:r>
            <a:endParaRPr lang="en-US" sz="1100" dirty="0">
              <a:solidFill>
                <a:srgbClr val="8CB0F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4381665" y="2621287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4436967" y="2946909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5211365" y="3210097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6" name="Oval 105"/>
          <p:cNvSpPr/>
          <p:nvPr/>
        </p:nvSpPr>
        <p:spPr>
          <a:xfrm>
            <a:off x="4928971" y="3191289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359581" y="3424088"/>
            <a:ext cx="444138" cy="19530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4882680" y="3136000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9296337" y="1502444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s upload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9321814" y="5540882"/>
            <a:ext cx="851125" cy="150398"/>
          </a:xfrm>
          <a:prstGeom prst="rect">
            <a:avLst/>
          </a:prstGeom>
          <a:solidFill>
            <a:srgbClr val="667084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10139937" y="5393577"/>
            <a:ext cx="84542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Mandatory</a:t>
            </a:r>
            <a:r>
              <a:rPr lang="en-US" sz="18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</a:t>
            </a:r>
            <a:endParaRPr lang="en-US" sz="18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321814" y="5749091"/>
            <a:ext cx="851125" cy="15039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10139937" y="5601786"/>
            <a:ext cx="720069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Optional</a:t>
            </a:r>
            <a:r>
              <a:rPr lang="en-US" sz="18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</a:t>
            </a:r>
            <a:endParaRPr lang="en-US" sz="18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10770590" y="2215172"/>
            <a:ext cx="965862" cy="897178"/>
          </a:xfrm>
          <a:prstGeom prst="rect">
            <a:avLst/>
          </a:prstGeom>
          <a:solidFill>
            <a:srgbClr val="667084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10701347" y="3081187"/>
            <a:ext cx="1130374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perty doc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25" name="Straight Connector 124"/>
          <p:cNvCxnSpPr/>
          <p:nvPr/>
        </p:nvCxnSpPr>
        <p:spPr>
          <a:xfrm>
            <a:off x="11150424" y="2640381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/>
        </p:nvCxnSpPr>
        <p:spPr>
          <a:xfrm flipH="1">
            <a:off x="11268412" y="2535444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Oval 126"/>
          <p:cNvSpPr/>
          <p:nvPr/>
        </p:nvSpPr>
        <p:spPr>
          <a:xfrm>
            <a:off x="11726939" y="3167447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11680648" y="3112158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381927" y="3627107"/>
            <a:ext cx="965862" cy="89717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9510602" y="4502269"/>
            <a:ext cx="645626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b="0" i="0" u="none" baseline="0" dirty="0" smtClean="0">
                <a:solidFill>
                  <a:srgbClr val="8CB0FE"/>
                </a:solidFill>
                <a:latin typeface="BMW Group Condensed" panose="020B0606020202020204" pitchFamily="34" charset="0"/>
              </a:rPr>
              <a:t>Others</a:t>
            </a:r>
            <a:endParaRPr lang="en-US" sz="1400" b="0" i="0" u="none" baseline="0" dirty="0" smtClean="0">
              <a:solidFill>
                <a:srgbClr val="8CB0FE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1" name="Straight Connector 130"/>
          <p:cNvCxnSpPr/>
          <p:nvPr/>
        </p:nvCxnSpPr>
        <p:spPr>
          <a:xfrm>
            <a:off x="9761761" y="4052316"/>
            <a:ext cx="216310" cy="0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/>
        </p:nvCxnSpPr>
        <p:spPr>
          <a:xfrm flipH="1">
            <a:off x="9879749" y="3947379"/>
            <a:ext cx="1" cy="225471"/>
          </a:xfrm>
          <a:prstGeom prst="line">
            <a:avLst/>
          </a:prstGeom>
          <a:ln w="1905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Oval 132"/>
          <p:cNvSpPr/>
          <p:nvPr/>
        </p:nvSpPr>
        <p:spPr>
          <a:xfrm>
            <a:off x="10477923" y="4579574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10431632" y="4524285"/>
            <a:ext cx="248271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9376775" y="2207992"/>
            <a:ext cx="965862" cy="897178"/>
          </a:xfrm>
          <a:prstGeom prst="rect">
            <a:avLst/>
          </a:prstGeom>
          <a:solidFill>
            <a:srgbClr val="667084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6" name="Oval 135"/>
          <p:cNvSpPr/>
          <p:nvPr/>
        </p:nvSpPr>
        <p:spPr>
          <a:xfrm>
            <a:off x="10472771" y="3160459"/>
            <a:ext cx="182880" cy="182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7" name="Straight Connector 136"/>
          <p:cNvCxnSpPr/>
          <p:nvPr/>
        </p:nvCxnSpPr>
        <p:spPr>
          <a:xfrm>
            <a:off x="9627997" y="2332529"/>
            <a:ext cx="437120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9651355" y="2445600"/>
            <a:ext cx="437120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/>
        </p:nvCxnSpPr>
        <p:spPr>
          <a:xfrm>
            <a:off x="9661189" y="2535444"/>
            <a:ext cx="437120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>
            <a:off x="9651355" y="2640381"/>
            <a:ext cx="437120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9641146" y="2760915"/>
            <a:ext cx="437120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9628070" y="2887927"/>
            <a:ext cx="437120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lowchart: Connector 4"/>
          <p:cNvSpPr/>
          <p:nvPr/>
        </p:nvSpPr>
        <p:spPr>
          <a:xfrm>
            <a:off x="5373963" y="1462745"/>
            <a:ext cx="296705" cy="260501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1" i="0" u="none" baseline="0" dirty="0" err="1" smtClean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BMW Group Condensed" panose="020B0606020202020204" pitchFamily="34" charset="0"/>
            </a:endParaRPr>
          </a:p>
        </p:txBody>
      </p:sp>
      <p:sp>
        <p:nvSpPr>
          <p:cNvPr id="143" name="Flowchart: Connector 142"/>
          <p:cNvSpPr/>
          <p:nvPr/>
        </p:nvSpPr>
        <p:spPr>
          <a:xfrm>
            <a:off x="7205891" y="5130613"/>
            <a:ext cx="296705" cy="260501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1" i="0" u="none" baseline="0" dirty="0" err="1" smtClean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BMW Group Condensed" panose="020B0606020202020204" pitchFamily="34" charset="0"/>
            </a:endParaRPr>
          </a:p>
        </p:txBody>
      </p:sp>
      <p:sp>
        <p:nvSpPr>
          <p:cNvPr id="144" name="Flowchart: Connector 143"/>
          <p:cNvSpPr/>
          <p:nvPr/>
        </p:nvSpPr>
        <p:spPr>
          <a:xfrm>
            <a:off x="8062057" y="5753136"/>
            <a:ext cx="296705" cy="260501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1" i="0" u="none" baseline="0" dirty="0" err="1" smtClean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BMW Group Condensed" panose="020B0606020202020204" pitchFamily="34" charset="0"/>
            </a:endParaRPr>
          </a:p>
        </p:txBody>
      </p:sp>
      <p:sp>
        <p:nvSpPr>
          <p:cNvPr id="145" name="Flowchart: Connector 144"/>
          <p:cNvSpPr/>
          <p:nvPr/>
        </p:nvSpPr>
        <p:spPr>
          <a:xfrm>
            <a:off x="9573210" y="1931330"/>
            <a:ext cx="296705" cy="260501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1" i="0" u="none" baseline="0" dirty="0" err="1" smtClean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BMW Group Condensed" panose="020B0606020202020204" pitchFamily="34" charset="0"/>
            </a:endParaRPr>
          </a:p>
        </p:txBody>
      </p:sp>
      <p:sp>
        <p:nvSpPr>
          <p:cNvPr id="146" name="Flowchart: Connector 145"/>
          <p:cNvSpPr/>
          <p:nvPr/>
        </p:nvSpPr>
        <p:spPr>
          <a:xfrm>
            <a:off x="11002071" y="2054540"/>
            <a:ext cx="296705" cy="260501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1" i="0" u="none" baseline="0" dirty="0" err="1" smtClean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BMW Group Condensed" panose="020B0606020202020204" pitchFamily="34" charset="0"/>
            </a:endParaRPr>
          </a:p>
        </p:txBody>
      </p:sp>
      <p:sp>
        <p:nvSpPr>
          <p:cNvPr id="147" name="Flowchart: Connector 146"/>
          <p:cNvSpPr/>
          <p:nvPr/>
        </p:nvSpPr>
        <p:spPr>
          <a:xfrm>
            <a:off x="9641146" y="3412768"/>
            <a:ext cx="296705" cy="260501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1" i="0" u="none" baseline="0" dirty="0" err="1" smtClean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BMW Group Condensed" panose="020B0606020202020204" pitchFamily="34" charset="0"/>
            </a:endParaRPr>
          </a:p>
        </p:txBody>
      </p:sp>
      <p:sp>
        <p:nvSpPr>
          <p:cNvPr id="149" name="Flowchart: Connector 148"/>
          <p:cNvSpPr/>
          <p:nvPr/>
        </p:nvSpPr>
        <p:spPr>
          <a:xfrm>
            <a:off x="2582643" y="1396157"/>
            <a:ext cx="296705" cy="260501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1" i="0" u="none" baseline="0" dirty="0" err="1" smtClean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BMW Group Condensed" panose="020B0606020202020204" pitchFamily="34" charset="0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2748720" y="1048658"/>
            <a:ext cx="1740815" cy="27962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pic 9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9533100" y="1018376"/>
            <a:ext cx="1740815" cy="27962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pic 10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138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</a:t>
            </a:r>
            <a:r>
              <a:rPr lang="en-US" altLang="zh-CN" dirty="0" smtClean="0"/>
              <a:t>08</a:t>
            </a:r>
            <a:r>
              <a:rPr lang="en-US" dirty="0" smtClean="0"/>
              <a:t>: pre-check manag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7" y="921562"/>
            <a:ext cx="11224685" cy="5699674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</a:t>
            </a:r>
            <a:r>
              <a:rPr lang="en-US" altLang="zh-CN" dirty="0" smtClean="0">
                <a:solidFill>
                  <a:srgbClr val="0070C0"/>
                </a:solidFill>
              </a:rPr>
              <a:t>08</a:t>
            </a:r>
            <a:r>
              <a:rPr lang="en-US" dirty="0" smtClean="0">
                <a:solidFill>
                  <a:srgbClr val="0070C0"/>
                </a:solidFill>
              </a:rPr>
              <a:t>-S001-ON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n applicant of </a:t>
            </a:r>
            <a:r>
              <a:rPr lang="en-US" dirty="0" err="1" smtClean="0"/>
              <a:t>eAPP</a:t>
            </a:r>
            <a:r>
              <a:rPr lang="en-US" dirty="0" smtClean="0"/>
              <a:t>, </a:t>
            </a:r>
            <a:r>
              <a:rPr lang="en-US" dirty="0"/>
              <a:t>I want to </a:t>
            </a:r>
            <a:r>
              <a:rPr lang="en-US" dirty="0" err="1" smtClean="0"/>
              <a:t>triger</a:t>
            </a:r>
            <a:r>
              <a:rPr lang="en-US" dirty="0" smtClean="0"/>
              <a:t> pre-check application on the platform </a:t>
            </a:r>
            <a:r>
              <a:rPr lang="en-US" dirty="0"/>
              <a:t>after </a:t>
            </a:r>
            <a:r>
              <a:rPr lang="en-US" dirty="0" smtClean="0"/>
              <a:t>I passed </a:t>
            </a:r>
            <a:r>
              <a:rPr lang="en-US" dirty="0"/>
              <a:t>all steps in E-authentication </a:t>
            </a:r>
            <a:r>
              <a:rPr lang="en-US" dirty="0" smtClean="0"/>
              <a:t>and fulfill the application form, so that I can continue the application process by myself. </a:t>
            </a:r>
          </a:p>
          <a:p>
            <a:pPr marL="0" indent="0">
              <a:buNone/>
            </a:pPr>
            <a:r>
              <a:rPr lang="en-US" dirty="0"/>
              <a:t>As a co-borrower or guarantor I want to </a:t>
            </a:r>
            <a:r>
              <a:rPr lang="en-US" dirty="0" err="1"/>
              <a:t>triger</a:t>
            </a:r>
            <a:r>
              <a:rPr lang="en-US" dirty="0"/>
              <a:t> pre-check application on the platform using applicant’s account after I passed all steps in E-authentication and fulfill the application form of co-borrower/guarantor part, so that I can continue the application process. 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</a:t>
            </a:r>
            <a:r>
              <a:rPr lang="en-US" altLang="zh-CN" dirty="0" smtClean="0">
                <a:solidFill>
                  <a:srgbClr val="0070C0"/>
                </a:solidFill>
              </a:rPr>
              <a:t>08</a:t>
            </a:r>
            <a:r>
              <a:rPr lang="en-US" dirty="0">
                <a:solidFill>
                  <a:srgbClr val="0070C0"/>
                </a:solidFill>
              </a:rPr>
              <a:t>-S002-ON: </a:t>
            </a:r>
          </a:p>
          <a:p>
            <a:pPr marL="0" indent="0">
              <a:buNone/>
            </a:pPr>
            <a:r>
              <a:rPr lang="en-US" dirty="0" smtClean="0"/>
              <a:t>As a dealer F</a:t>
            </a:r>
            <a:r>
              <a:rPr lang="en-US" altLang="zh-CN" dirty="0" smtClean="0"/>
              <a:t>I</a:t>
            </a:r>
            <a:r>
              <a:rPr lang="en-US" dirty="0" smtClean="0"/>
              <a:t> , I want to see the pre-check application information in DFE once applicant already </a:t>
            </a:r>
            <a:r>
              <a:rPr lang="en-US" dirty="0" err="1" smtClean="0"/>
              <a:t>triger</a:t>
            </a:r>
            <a:r>
              <a:rPr lang="en-US" dirty="0" smtClean="0"/>
              <a:t> </a:t>
            </a:r>
            <a:r>
              <a:rPr lang="en-US" dirty="0"/>
              <a:t>pre-check </a:t>
            </a:r>
            <a:r>
              <a:rPr lang="en-US" dirty="0" smtClean="0"/>
              <a:t>application, so that I can track all pre-check application status for my customers.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</a:t>
            </a:r>
            <a:r>
              <a:rPr lang="en-US" altLang="zh-CN" dirty="0" smtClean="0">
                <a:solidFill>
                  <a:srgbClr val="0070C0"/>
                </a:solidFill>
              </a:rPr>
              <a:t>08</a:t>
            </a:r>
            <a:r>
              <a:rPr lang="en-US" dirty="0">
                <a:solidFill>
                  <a:srgbClr val="0070C0"/>
                </a:solidFill>
              </a:rPr>
              <a:t>-S003-ON: </a:t>
            </a:r>
          </a:p>
          <a:p>
            <a:pPr marL="0" indent="0">
              <a:buNone/>
            </a:pPr>
            <a:r>
              <a:rPr lang="en-US" dirty="0"/>
              <a:t> </a:t>
            </a:r>
            <a:r>
              <a:rPr lang="en-US" dirty="0" smtClean="0"/>
              <a:t>As an applicant, I </a:t>
            </a:r>
            <a:r>
              <a:rPr lang="en-US" dirty="0"/>
              <a:t>want to get the pre-check results </a:t>
            </a:r>
            <a:r>
              <a:rPr lang="en-US" dirty="0" smtClean="0"/>
              <a:t>(overall result) correctly of myself, co-borrower and guarantor, and also for each status, I can get a clear description on each status and a guideline on next action, so that I can know the meaning of each status and know whether I can continue my application, and what is the next step.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</a:t>
            </a:r>
            <a:r>
              <a:rPr lang="en-US" altLang="zh-CN" dirty="0" smtClean="0">
                <a:solidFill>
                  <a:srgbClr val="0070C0"/>
                </a:solidFill>
              </a:rPr>
              <a:t>08</a:t>
            </a:r>
            <a:r>
              <a:rPr lang="en-US" dirty="0">
                <a:solidFill>
                  <a:srgbClr val="0070C0"/>
                </a:solidFill>
              </a:rPr>
              <a:t>-S004-ON: </a:t>
            </a:r>
          </a:p>
          <a:p>
            <a:pPr marL="0" indent="0">
              <a:buNone/>
            </a:pPr>
            <a:r>
              <a:rPr lang="en-US" dirty="0"/>
              <a:t> As an </a:t>
            </a:r>
            <a:r>
              <a:rPr lang="en-US" dirty="0" smtClean="0"/>
              <a:t>applicant, I want to re-</a:t>
            </a:r>
            <a:r>
              <a:rPr lang="en-US" dirty="0" err="1" smtClean="0"/>
              <a:t>triger</a:t>
            </a:r>
            <a:r>
              <a:rPr lang="en-US" dirty="0" smtClean="0"/>
              <a:t> the pre-check application on the platform so that if I’m allowed to go back to modify some personal information which may have impact on my pre-check result, this platform can support me to </a:t>
            </a:r>
            <a:r>
              <a:rPr lang="en-US" dirty="0"/>
              <a:t>re-</a:t>
            </a:r>
            <a:r>
              <a:rPr lang="en-US" dirty="0" err="1"/>
              <a:t>triger</a:t>
            </a:r>
            <a:r>
              <a:rPr lang="en-US" dirty="0"/>
              <a:t> the pre-check </a:t>
            </a:r>
            <a:r>
              <a:rPr lang="en-US" dirty="0" smtClean="0"/>
              <a:t>application.(</a:t>
            </a:r>
            <a:r>
              <a:rPr lang="en-US" dirty="0"/>
              <a:t>DFE follow current feature )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899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-EP-0</a:t>
            </a:r>
            <a:r>
              <a:rPr lang="en-US" altLang="zh-CN" dirty="0"/>
              <a:t>08</a:t>
            </a:r>
            <a:r>
              <a:rPr lang="en-US" dirty="0"/>
              <a:t>: pre-check manag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7" y="921562"/>
            <a:ext cx="11224685" cy="5699674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</a:t>
            </a:r>
            <a:r>
              <a:rPr lang="en-US" altLang="zh-CN" dirty="0" smtClean="0">
                <a:solidFill>
                  <a:srgbClr val="0070C0"/>
                </a:solidFill>
              </a:rPr>
              <a:t>08</a:t>
            </a:r>
            <a:r>
              <a:rPr lang="en-US" dirty="0">
                <a:solidFill>
                  <a:srgbClr val="0070C0"/>
                </a:solidFill>
              </a:rPr>
              <a:t>-S005-ON: </a:t>
            </a:r>
          </a:p>
          <a:p>
            <a:pPr marL="0" indent="0">
              <a:buNone/>
            </a:pPr>
            <a:r>
              <a:rPr lang="en-US" dirty="0" smtClean="0"/>
              <a:t>As </a:t>
            </a:r>
            <a:r>
              <a:rPr lang="en-US" dirty="0"/>
              <a:t>a dealer </a:t>
            </a:r>
            <a:r>
              <a:rPr lang="en-US" dirty="0" smtClean="0"/>
              <a:t>FI </a:t>
            </a:r>
            <a:r>
              <a:rPr lang="en-US" dirty="0"/>
              <a:t>, I want to see </a:t>
            </a:r>
            <a:r>
              <a:rPr lang="en-US" dirty="0" smtClean="0"/>
              <a:t>the detail and overall </a:t>
            </a:r>
            <a:r>
              <a:rPr lang="en-US" dirty="0"/>
              <a:t>pre-check application </a:t>
            </a:r>
            <a:r>
              <a:rPr lang="en-US" dirty="0" smtClean="0"/>
              <a:t>result of applicant co-borrower and guarantor in DFE, so that I can track my customer’s application status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055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8-S001-ON: 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n applicant of </a:t>
            </a:r>
            <a:r>
              <a:rPr lang="en-US" dirty="0" err="1"/>
              <a:t>eAPP</a:t>
            </a:r>
            <a:r>
              <a:rPr lang="en-US" dirty="0"/>
              <a:t>, I want to </a:t>
            </a:r>
            <a:r>
              <a:rPr lang="en-US" dirty="0" smtClean="0"/>
              <a:t>trigger </a:t>
            </a:r>
            <a:r>
              <a:rPr lang="en-US" dirty="0"/>
              <a:t>pre-check application on the platform after I passed all steps in E-authentication and fulfill the application form, so that I can continue the application process by myself. </a:t>
            </a:r>
            <a:endParaRPr lang="en-US" dirty="0" smtClean="0"/>
          </a:p>
          <a:p>
            <a:pPr marL="0" indent="0">
              <a:buNone/>
            </a:pPr>
            <a:r>
              <a:rPr lang="en-US" dirty="0"/>
              <a:t>As a co-borrower or guarantor I want to </a:t>
            </a:r>
            <a:r>
              <a:rPr lang="en-US" dirty="0" smtClean="0"/>
              <a:t>trigger </a:t>
            </a:r>
            <a:r>
              <a:rPr lang="en-US" dirty="0"/>
              <a:t>pre-check application on the platform using applicant’s account after I passed all steps in E-authentication and fulfill the application form of co-borrower/guarantor part, so that I can continue the application process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user has passed the E-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Auth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and already fulfill the application form online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When applicant passed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all steps in E-authentication and fulfill the application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form, pre-check application page pop up</a:t>
            </a: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re will be 3 lines in this page, first line is applicant info, including applicant name, ID Type and ID No. second line is co-borrower info. including </a:t>
            </a:r>
            <a:r>
              <a:rPr lang="en-US" sz="1600" dirty="0" smtClean="0">
                <a:solidFill>
                  <a:srgbClr val="172B4D"/>
                </a:solidFill>
              </a:rPr>
              <a:t>co-borrower name</a:t>
            </a:r>
            <a:r>
              <a:rPr lang="en-US" sz="1600" dirty="0">
                <a:solidFill>
                  <a:srgbClr val="172B4D"/>
                </a:solidFill>
              </a:rPr>
              <a:t>, ID Type and ID No</a:t>
            </a:r>
            <a:r>
              <a:rPr lang="en-US" sz="1600" dirty="0" smtClean="0">
                <a:solidFill>
                  <a:srgbClr val="172B4D"/>
                </a:solidFill>
              </a:rPr>
              <a:t>., third line is guarantor info., </a:t>
            </a:r>
            <a:r>
              <a:rPr lang="en-US" sz="1600" dirty="0">
                <a:solidFill>
                  <a:srgbClr val="172B4D"/>
                </a:solidFill>
              </a:rPr>
              <a:t>including </a:t>
            </a:r>
            <a:r>
              <a:rPr lang="en-US" sz="1600" dirty="0" smtClean="0">
                <a:solidFill>
                  <a:srgbClr val="172B4D"/>
                </a:solidFill>
              </a:rPr>
              <a:t>guarantor name</a:t>
            </a:r>
            <a:r>
              <a:rPr lang="en-US" sz="1600" dirty="0">
                <a:solidFill>
                  <a:srgbClr val="172B4D"/>
                </a:solidFill>
              </a:rPr>
              <a:t>, ID Type and ID No</a:t>
            </a:r>
            <a:r>
              <a:rPr lang="en-US" sz="1600" dirty="0" smtClean="0">
                <a:solidFill>
                  <a:srgbClr val="172B4D"/>
                </a:solidFill>
              </a:rPr>
              <a:t>. these info. shall be linked from the application form automatically. If there is multiple guarantors, then all the guarantors’ info. shall be displayed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There shall be a button to trigger in this page, applicant can click this button to do pre-check application and once click this button, the pre-check will including applicant, co-borrower and guarantor.</a:t>
            </a: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821559" y="22500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21559" y="2731154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821559" y="32122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96042" y="22500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96042" y="2731154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96042" y="32122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821559" y="369335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96042" y="369335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02373" y="326647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</a:t>
            </a:r>
          </a:p>
        </p:txBody>
      </p:sp>
    </p:spTree>
    <p:extLst>
      <p:ext uri="{BB962C8B-B14F-4D97-AF65-F5344CB8AC3E}">
        <p14:creationId xmlns:p14="http://schemas.microsoft.com/office/powerpoint/2010/main" val="535776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8-S002-ON: 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dealer </a:t>
            </a:r>
            <a:r>
              <a:rPr lang="en-US" dirty="0" smtClean="0"/>
              <a:t>FI </a:t>
            </a:r>
            <a:r>
              <a:rPr lang="en-US" dirty="0"/>
              <a:t>, I want to see the pre-check application information in DFE once applicant already </a:t>
            </a:r>
            <a:r>
              <a:rPr lang="en-US" dirty="0" smtClean="0"/>
              <a:t>triggered </a:t>
            </a:r>
            <a:r>
              <a:rPr lang="en-US" dirty="0"/>
              <a:t>pre-check application, so that I can track all pre-check application status for my customers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pre-check application already triggered by applicant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0" indent="0">
              <a:buNone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1. </a:t>
            </a:r>
            <a:r>
              <a:rPr lang="en-US" sz="1600" dirty="0" smtClean="0"/>
              <a:t>Once </a:t>
            </a:r>
            <a:r>
              <a:rPr lang="en-US" sz="1600" dirty="0"/>
              <a:t>applicant already </a:t>
            </a:r>
            <a:r>
              <a:rPr lang="en-US" sz="1600" dirty="0" smtClean="0"/>
              <a:t>trigger </a:t>
            </a:r>
            <a:r>
              <a:rPr lang="en-US" sz="1600" dirty="0"/>
              <a:t>pre-check application, </a:t>
            </a:r>
            <a:r>
              <a:rPr lang="en-US" sz="1600" dirty="0" smtClean="0"/>
              <a:t>then FI can also view the pre-check application status in DFE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483923" y="432574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483923" y="4806842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483923" y="528794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9958406" y="432574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9958406" y="4806842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9958406" y="528794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483923" y="576903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9958406" y="5769039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928745" y="3844282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</a:t>
            </a:r>
          </a:p>
        </p:txBody>
      </p:sp>
    </p:spTree>
    <p:extLst>
      <p:ext uri="{BB962C8B-B14F-4D97-AF65-F5344CB8AC3E}">
        <p14:creationId xmlns:p14="http://schemas.microsoft.com/office/powerpoint/2010/main" val="1274591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8-S003-ON: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 As an applicant, I want to get the pre-check results (overall result) correctly of myself, co-borrower and guarantor, and also for each status, I can get a clear description on each status and a guideline on next action, so that I can know the meaning of each status and know whether I can continue my application, and what is the next step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dirty="0"/>
              <a:t>As an applicant, I want to view the pre-check status of Co-borrower and guarantor, so that I can know more accurate application status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pre-check application already triggered by applicant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n the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pre-check application page,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for each person(applicant/co-borrower/guarantor), there is a column behind the ID No. column to show the pre-check result and there is a field to show the overall result the value shall be pass for fail.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re is a field to display the overall pre-check result description. For Pass: 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恭喜您通过宝马金融的信贷预审核，请点击‘下一步’ 来上传相关申请文件。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For Fail: 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很遗憾，您没有通过宝马金融的预审核，具体原因请联系宝马金融专员。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526687" lvl="1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647823" y="492495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647823" y="5406057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647823" y="5887155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122306" y="492496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122306" y="5406057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122306" y="5887156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647823" y="636825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122306" y="636825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092645" y="347183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</a:t>
            </a:r>
          </a:p>
        </p:txBody>
      </p:sp>
    </p:spTree>
    <p:extLst>
      <p:ext uri="{BB962C8B-B14F-4D97-AF65-F5344CB8AC3E}">
        <p14:creationId xmlns:p14="http://schemas.microsoft.com/office/powerpoint/2010/main" val="3941889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8-S00</a:t>
            </a:r>
            <a:r>
              <a:rPr lang="en-US" altLang="zh-CN" dirty="0" smtClean="0"/>
              <a:t>4</a:t>
            </a:r>
            <a:r>
              <a:rPr lang="en-US" dirty="0"/>
              <a:t>-ON: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 As an applicant, I want to </a:t>
            </a:r>
            <a:r>
              <a:rPr lang="en-US" dirty="0" smtClean="0"/>
              <a:t>re-trigger </a:t>
            </a:r>
            <a:r>
              <a:rPr lang="en-US" dirty="0"/>
              <a:t>the pre-check application on the platform so that if I need to go back to modify some personal information which may have impact on my pre-check result, this platform can support me to </a:t>
            </a:r>
            <a:r>
              <a:rPr lang="en-US" dirty="0" smtClean="0"/>
              <a:t>re-trigger </a:t>
            </a:r>
            <a:r>
              <a:rPr lang="en-US" dirty="0"/>
              <a:t>the pre-check application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pre-check application already triggered by applicant</a:t>
            </a:r>
          </a:p>
          <a:p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re is some information not correct and need customer to change the personal info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n the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pre-check application page,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re is a button called previous step, if customer click this button, then customer can go back to previous page and modify the application form.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the pre-check is in progress, which means there is no feedback </a:t>
            </a:r>
            <a:r>
              <a:rPr lang="en-US" sz="1600" dirty="0" smtClean="0">
                <a:solidFill>
                  <a:srgbClr val="FF0000"/>
                </a:solidFill>
                <a:latin typeface="+mj-lt"/>
              </a:rPr>
              <a:t>on current pre-check result, then the pre-check application </a:t>
            </a:r>
            <a:r>
              <a:rPr lang="en-US" sz="1600" dirty="0" err="1" smtClean="0">
                <a:solidFill>
                  <a:srgbClr val="FF0000"/>
                </a:solidFill>
                <a:latin typeface="+mj-lt"/>
              </a:rPr>
              <a:t>triger</a:t>
            </a:r>
            <a:r>
              <a:rPr lang="en-US" sz="1600" dirty="0" smtClean="0">
                <a:solidFill>
                  <a:srgbClr val="FF0000"/>
                </a:solidFill>
                <a:latin typeface="+mj-lt"/>
              </a:rPr>
              <a:t> button and previous step button is grey and disabled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, customer can’t go back to previous step and can’t re-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triger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the pre-check application.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customer already get the pre-check result, then customer can click previous step button to modify personal info and then go to pre-check application page and re-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triger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the pre-check application.</a:t>
            </a:r>
          </a:p>
          <a:p>
            <a:pPr marL="183787" lvl="1" indent="0">
              <a:buNone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</a:t>
            </a:r>
          </a:p>
        </p:txBody>
      </p:sp>
    </p:spTree>
    <p:extLst>
      <p:ext uri="{BB962C8B-B14F-4D97-AF65-F5344CB8AC3E}">
        <p14:creationId xmlns:p14="http://schemas.microsoft.com/office/powerpoint/2010/main" val="96561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8-S005-ON: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 As a dealer FC , I want to see the detail and overall pre-check application result of applicant co-borrower and guarantor in DFE, so that I can track my customer’s application status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pre-check application already triggered by applicant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Pre-check result shall sync to DFE and in DFE, there shall also fields to show details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pre-check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results:NCIIC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 PBOC Blacklist Internal Rules Anti money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laundry.</a:t>
            </a:r>
          </a:p>
          <a:p>
            <a:pPr marL="183787" lvl="1" indent="0">
              <a:buNone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</a:t>
            </a:r>
          </a:p>
        </p:txBody>
      </p:sp>
    </p:spTree>
    <p:extLst>
      <p:ext uri="{BB962C8B-B14F-4D97-AF65-F5344CB8AC3E}">
        <p14:creationId xmlns:p14="http://schemas.microsoft.com/office/powerpoint/2010/main" val="4119608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ock </a:t>
            </a:r>
            <a:r>
              <a:rPr lang="en-US" altLang="zh-CN" dirty="0"/>
              <a:t>Up: Story ID: </a:t>
            </a:r>
            <a:r>
              <a:rPr lang="en-US" altLang="zh-CN" dirty="0" smtClean="0"/>
              <a:t>EP008-S001 to S005-ON</a:t>
            </a:r>
            <a:r>
              <a:rPr lang="en-US" altLang="zh-CN" dirty="0"/>
              <a:t>: 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47700" y="1638300"/>
            <a:ext cx="2505075" cy="4486275"/>
          </a:xfrm>
          <a:prstGeom prst="rect">
            <a:avLst/>
          </a:prstGeom>
          <a:noFill/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95337" y="1743074"/>
            <a:ext cx="2209800" cy="21907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www.easyfinance.com</a:t>
            </a: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Pentagon 16"/>
          <p:cNvSpPr/>
          <p:nvPr/>
        </p:nvSpPr>
        <p:spPr>
          <a:xfrm>
            <a:off x="2500313" y="5748501"/>
            <a:ext cx="614362" cy="304800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900" dirty="0">
                <a:solidFill>
                  <a:schemeClr val="tx1"/>
                </a:solidFill>
                <a:latin typeface="BMW Group Condensed" panose="020B0606020202020204" pitchFamily="34" charset="0"/>
              </a:rPr>
              <a:t>下一步</a:t>
            </a:r>
            <a:endParaRPr lang="en-US" sz="900" b="0" i="0" u="none" baseline="0" dirty="0" err="1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795337" y="2424157"/>
            <a:ext cx="595313" cy="258084"/>
          </a:xfrm>
          <a:prstGeom prst="round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Applicant</a:t>
            </a:r>
            <a:endParaRPr lang="en-US" sz="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/>
          </p:nvPr>
        </p:nvGraphicFramePr>
        <p:xfrm>
          <a:off x="795337" y="2800080"/>
          <a:ext cx="2209800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450"/>
                <a:gridCol w="552450"/>
                <a:gridCol w="552450"/>
                <a:gridCol w="552450"/>
              </a:tblGrid>
              <a:tr h="265747"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姓名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类型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号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预审核结果</a:t>
                      </a:r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0" name="Rounded Rectangle 19"/>
          <p:cNvSpPr/>
          <p:nvPr/>
        </p:nvSpPr>
        <p:spPr>
          <a:xfrm>
            <a:off x="795337" y="3200397"/>
            <a:ext cx="595313" cy="258084"/>
          </a:xfrm>
          <a:prstGeom prst="round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Co-borrower</a:t>
            </a:r>
            <a:endParaRPr lang="en-US" sz="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/>
          </p:nvPr>
        </p:nvGraphicFramePr>
        <p:xfrm>
          <a:off x="795337" y="3525199"/>
          <a:ext cx="2209800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450"/>
                <a:gridCol w="552450"/>
                <a:gridCol w="552450"/>
                <a:gridCol w="552450"/>
              </a:tblGrid>
              <a:tr h="265747"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姓名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类型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号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预审核结果</a:t>
                      </a:r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2" name="Rounded Rectangle 21"/>
          <p:cNvSpPr/>
          <p:nvPr/>
        </p:nvSpPr>
        <p:spPr>
          <a:xfrm>
            <a:off x="795337" y="3876846"/>
            <a:ext cx="595313" cy="258084"/>
          </a:xfrm>
          <a:prstGeom prst="round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Guarantor</a:t>
            </a:r>
            <a:endParaRPr lang="en-US" sz="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/>
          </p:nvPr>
        </p:nvGraphicFramePr>
        <p:xfrm>
          <a:off x="795337" y="4217819"/>
          <a:ext cx="2209800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450"/>
                <a:gridCol w="552450"/>
                <a:gridCol w="552450"/>
                <a:gridCol w="552450"/>
              </a:tblGrid>
              <a:tr h="265747"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姓名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类型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证件号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800" dirty="0" smtClean="0"/>
                        <a:t>预审核结果</a:t>
                      </a:r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4" name="Pentagon 23"/>
          <p:cNvSpPr/>
          <p:nvPr/>
        </p:nvSpPr>
        <p:spPr>
          <a:xfrm rot="10800000">
            <a:off x="757238" y="5727070"/>
            <a:ext cx="614362" cy="304800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b="0" i="0" u="none" baseline="0" dirty="0" err="1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19150" y="5789309"/>
            <a:ext cx="1104900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上一步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795337" y="4754948"/>
            <a:ext cx="923925" cy="224001"/>
          </a:xfrm>
          <a:prstGeom prst="round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总</a:t>
            </a:r>
            <a:r>
              <a:rPr lang="zh-CN" altLang="en-US" sz="1100" dirty="0">
                <a:solidFill>
                  <a:schemeClr val="tx1"/>
                </a:solidFill>
                <a:latin typeface="BMW Group Condensed" panose="020B0606020202020204" pitchFamily="34" charset="0"/>
              </a:rPr>
              <a:t>结果</a:t>
            </a:r>
            <a:endParaRPr lang="en-US" sz="1100" b="0" i="0" u="none" baseline="0" dirty="0" err="1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1866899" y="4754949"/>
            <a:ext cx="1119188" cy="24143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chemeClr val="tx1"/>
                </a:solidFill>
                <a:latin typeface="BMW Group Condensed" panose="020B0606020202020204" pitchFamily="34" charset="0"/>
              </a:rPr>
              <a:t>Description</a:t>
            </a:r>
            <a:endParaRPr lang="en-US" sz="11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1390650" y="5143500"/>
            <a:ext cx="1109663" cy="43815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0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预审核申请</a:t>
            </a:r>
            <a:endParaRPr lang="en-US" sz="1000" b="0" i="0" u="none" baseline="0" dirty="0" err="1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2944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411</Words>
  <Application>Microsoft Office PowerPoint</Application>
  <PresentationFormat>Widescreen</PresentationFormat>
  <Paragraphs>205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Verdana</vt:lpstr>
      <vt:lpstr>BMW Group 16:9</vt:lpstr>
      <vt:lpstr>PowerPoint Presentation</vt:lpstr>
      <vt:lpstr>EF-EP-008: pre-check management</vt:lpstr>
      <vt:lpstr>EF-EP-008: pre-check management</vt:lpstr>
      <vt:lpstr>Story ID: EP008-S001-ON:   </vt:lpstr>
      <vt:lpstr>Story ID: EP008-S002-ON:  </vt:lpstr>
      <vt:lpstr>Story ID: EP008-S003-ON: </vt:lpstr>
      <vt:lpstr>Story ID: EP008-S004-ON: </vt:lpstr>
      <vt:lpstr>Story ID: EP008-S005-ON: </vt:lpstr>
      <vt:lpstr>Mock Up: Story ID: EP008-S001 to S005-ON:  </vt:lpstr>
      <vt:lpstr>Story ID: EP008-S001 to S005-ON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Ning Owen, SF5-CN-V-23</cp:lastModifiedBy>
  <cp:revision>295</cp:revision>
  <dcterms:created xsi:type="dcterms:W3CDTF">2017-04-27T07:24:45Z</dcterms:created>
  <dcterms:modified xsi:type="dcterms:W3CDTF">2018-10-25T03:11:33Z</dcterms:modified>
</cp:coreProperties>
</file>